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2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22" r:id="rId31"/>
    <p:sldId id="341" r:id="rId32"/>
    <p:sldId id="344" r:id="rId33"/>
    <p:sldId id="332" r:id="rId34"/>
    <p:sldId id="346" r:id="rId35"/>
    <p:sldId id="347" r:id="rId36"/>
    <p:sldId id="348" r:id="rId37"/>
    <p:sldId id="349" r:id="rId38"/>
    <p:sldId id="350" r:id="rId39"/>
    <p:sldId id="351" r:id="rId40"/>
    <p:sldId id="352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 varScale="1">
        <p:scale>
          <a:sx n="82" d="100"/>
          <a:sy n="82" d="100"/>
        </p:scale>
        <p:origin x="542" y="58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01</TotalTime>
  <Words>487</Words>
  <Application>Microsoft Office PowerPoint</Application>
  <PresentationFormat>Widescreen</PresentationFormat>
  <Paragraphs>85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The implications of using a FSM</vt:lpstr>
      <vt:lpstr>Acknowledge!</vt:lpstr>
      <vt:lpstr>How does microstore know that the datapath is ready?</vt:lpstr>
      <vt:lpstr>DEBUG MODE</vt:lpstr>
      <vt:lpstr>Debug mode</vt:lpstr>
      <vt:lpstr>Debug mode</vt:lpstr>
      <vt:lpstr>Debug mode in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54</cp:revision>
  <dcterms:created xsi:type="dcterms:W3CDTF">2022-11-07T08:19:15Z</dcterms:created>
  <dcterms:modified xsi:type="dcterms:W3CDTF">2022-11-08T13:29:36Z</dcterms:modified>
  <cp:version>004</cp:version>
</cp:coreProperties>
</file>